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8" r:id="rId3"/>
    <p:sldId id="267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69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79456-C302-450E-95BB-84078E23EF5F}" type="datetimeFigureOut">
              <a:rPr lang="en-US" smtClean="0"/>
              <a:t>10/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20E5B-6AC8-4BDA-99B3-245DCE234F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79456-C302-450E-95BB-84078E23EF5F}" type="datetimeFigureOut">
              <a:rPr lang="en-US" smtClean="0"/>
              <a:t>10/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20E5B-6AC8-4BDA-99B3-245DCE234F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79456-C302-450E-95BB-84078E23EF5F}" type="datetimeFigureOut">
              <a:rPr lang="en-US" smtClean="0"/>
              <a:t>10/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20E5B-6AC8-4BDA-99B3-245DCE234F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79456-C302-450E-95BB-84078E23EF5F}" type="datetimeFigureOut">
              <a:rPr lang="en-US" smtClean="0"/>
              <a:t>10/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20E5B-6AC8-4BDA-99B3-245DCE234F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79456-C302-450E-95BB-84078E23EF5F}" type="datetimeFigureOut">
              <a:rPr lang="en-US" smtClean="0"/>
              <a:t>10/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20E5B-6AC8-4BDA-99B3-245DCE234F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79456-C302-450E-95BB-84078E23EF5F}" type="datetimeFigureOut">
              <a:rPr lang="en-US" smtClean="0"/>
              <a:t>10/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20E5B-6AC8-4BDA-99B3-245DCE234F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79456-C302-450E-95BB-84078E23EF5F}" type="datetimeFigureOut">
              <a:rPr lang="en-US" smtClean="0"/>
              <a:t>10/4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20E5B-6AC8-4BDA-99B3-245DCE234F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79456-C302-450E-95BB-84078E23EF5F}" type="datetimeFigureOut">
              <a:rPr lang="en-US" smtClean="0"/>
              <a:t>10/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20E5B-6AC8-4BDA-99B3-245DCE234F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79456-C302-450E-95BB-84078E23EF5F}" type="datetimeFigureOut">
              <a:rPr lang="en-US" smtClean="0"/>
              <a:t>10/4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20E5B-6AC8-4BDA-99B3-245DCE234F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79456-C302-450E-95BB-84078E23EF5F}" type="datetimeFigureOut">
              <a:rPr lang="en-US" smtClean="0"/>
              <a:t>10/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20E5B-6AC8-4BDA-99B3-245DCE234F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79456-C302-450E-95BB-84078E23EF5F}" type="datetimeFigureOut">
              <a:rPr lang="en-US" smtClean="0"/>
              <a:t>10/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20E5B-6AC8-4BDA-99B3-245DCE234F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B79456-C302-450E-95BB-84078E23EF5F}" type="datetimeFigureOut">
              <a:rPr lang="en-US" smtClean="0"/>
              <a:t>10/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520E5B-6AC8-4BDA-99B3-245DCE234F4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empower - DO NOT DELETE!!!" hidden="1"/>
          <p:cNvSpPr/>
          <p:nvPr userDrawn="1">
            <p:custDataLst>
              <p:tags r:id="rId13"/>
            </p:custDataLst>
          </p:nvPr>
        </p:nvSpPr>
        <p:spPr>
          <a:xfrm>
            <a:off x="-63500" y="-6350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latin typeface="Myriad Pro" panose="020B0503030403020204" pitchFamily="34" charset="0"/>
              </a:rPr>
              <a:t>oneM2M</a:t>
            </a:r>
            <a:endParaRPr lang="en-US" dirty="0">
              <a:latin typeface="Myriad Pro" panose="020B0503030403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>
                <a:latin typeface="Myriad Pro" panose="020B0503030403020204" pitchFamily="34" charset="0"/>
              </a:rPr>
              <a:t>proud member creative treatments</a:t>
            </a:r>
            <a:endParaRPr lang="en-US" dirty="0">
              <a:latin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5363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673" y="1285087"/>
            <a:ext cx="5490939" cy="3660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713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673" y="1285087"/>
            <a:ext cx="5490939" cy="366062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9760" y="1210585"/>
            <a:ext cx="1828800" cy="182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66801" y="5020215"/>
            <a:ext cx="862369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N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is version shows how a member or partner can customize 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Variations can be created that read: Proud Supporter, et. 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an be part of a member onboarding k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an be printed or used digital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529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7"/>
  <p:tag name="MIO_SHOW_DATE" val="False"/>
  <p:tag name="MIO_SHOW_FOOTER" val="True"/>
  <p:tag name="MIO_SHOW_PAGENUMBER" val="True"/>
  <p:tag name="MIO_AVOID_BLANK_LAYOUT" val="True"/>
  <p:tag name="MIO_NUMBER_OF_VALID_LAYOUTS" val="11"/>
  <p:tag name="MIO_MST_COLOR_1" val="0,0,0,Dark 1"/>
  <p:tag name="MIO_MST_COLOR_2" val="255,255,255,Light 1"/>
  <p:tag name="MIO_MST_COLOR_3" val="68,84,106,Dark 2"/>
  <p:tag name="MIO_MST_COLOR_4" val="231,230,230,Light 2"/>
  <p:tag name="MIO_MST_COLOR_5" val="91,155,213,Accent 1"/>
  <p:tag name="MIO_MST_COLOR_6" val="237,125,49,Accent 2"/>
  <p:tag name="MIO_MST_COLOR_7" val="165,165,165,Accent 3"/>
  <p:tag name="MIO_MST_COLOR_8" val="255,192,0,Accent 4"/>
  <p:tag name="MIO_MST_COLOR_9" val="68,114,196,Accent 5"/>
  <p:tag name="MIO_MST_COLOR_10" val="112,173,71,Accent 6"/>
  <p:tag name="MIO_MST_COLOR_11" val="5,99,193,"/>
  <p:tag name="MIO_MST_COLOR_12" val="149,79,114,"/>
  <p:tag name="MIO_HDS" val="True"/>
  <p:tag name="MIO_EK" val="2718"/>
  <p:tag name="MIO_EKGUID" val="909d3ec1-6252-41ce-9248-38a3c44df5e9"/>
  <p:tag name="MIO_UPDATE" val="True"/>
  <p:tag name="MIO_VERSION" val="02.05.2016 11:23:18"/>
  <p:tag name="MIO_DBID" val="180656F9-7CE2-448E-86F6-B3E6B7DF2737"/>
  <p:tag name="MIO_LASTDOWNLOADED" val="02.10.2017 11:02:34"/>
  <p:tag name="MIO_OBJECTNAME" val="Blank Presentation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</TotalTime>
  <Words>46</Words>
  <Application>Microsoft Office PowerPoint</Application>
  <PresentationFormat>Widescreen</PresentationFormat>
  <Paragraphs>7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Myriad Pro</vt:lpstr>
      <vt:lpstr>Office Theme</vt:lpstr>
      <vt:lpstr>oneM2M</vt:lpstr>
      <vt:lpstr>PowerPoint Presentation</vt:lpstr>
      <vt:lpstr>PowerPoint Presentation</vt:lpstr>
    </vt:vector>
  </TitlesOfParts>
  <Company>iconectiv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ls Swedlund</dc:creator>
  <cp:lastModifiedBy>Oddy, Sharon</cp:lastModifiedBy>
  <cp:revision>7</cp:revision>
  <dcterms:created xsi:type="dcterms:W3CDTF">2016-05-02T15:23:17Z</dcterms:created>
  <dcterms:modified xsi:type="dcterms:W3CDTF">2017-10-04T14:58:07Z</dcterms:modified>
</cp:coreProperties>
</file>